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147471844" r:id="rId5"/>
    <p:sldId id="2147471845" r:id="rId6"/>
    <p:sldId id="2147471846" r:id="rId7"/>
    <p:sldId id="2147471847" r:id="rId8"/>
    <p:sldId id="2147471848" r:id="rId9"/>
    <p:sldId id="2147471849" r:id="rId10"/>
    <p:sldId id="2147471851" r:id="rId11"/>
    <p:sldId id="2147471850" r:id="rId12"/>
    <p:sldId id="2147471854" r:id="rId13"/>
    <p:sldId id="2147471852" r:id="rId14"/>
    <p:sldId id="2147471853" r:id="rId15"/>
    <p:sldId id="2147471841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lank slides" id="{3D8F0BE4-B189-B04F-BF54-678D8D66DFFD}">
          <p14:sldIdLst>
            <p14:sldId id="2147471844"/>
            <p14:sldId id="2147471845"/>
            <p14:sldId id="2147471846"/>
            <p14:sldId id="2147471847"/>
            <p14:sldId id="2147471848"/>
            <p14:sldId id="2147471849"/>
            <p14:sldId id="2147471851"/>
            <p14:sldId id="2147471850"/>
            <p14:sldId id="2147471854"/>
            <p14:sldId id="2147471852"/>
            <p14:sldId id="2147471853"/>
            <p14:sldId id="2147471841"/>
          </p14:sldIdLst>
        </p14:section>
        <p14:section name="Icons &amp; assets" id="{3CE1AFC4-AE00-EA49-981B-FA11B712145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0D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290"/>
    <p:restoredTop sz="96240"/>
  </p:normalViewPr>
  <p:slideViewPr>
    <p:cSldViewPr snapToGrid="0">
      <p:cViewPr varScale="1">
        <p:scale>
          <a:sx n="91" d="100"/>
          <a:sy n="91" d="100"/>
        </p:scale>
        <p:origin x="192" y="8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CAFF26-A476-7348-804A-942BBBF2AA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A2DD6C-4FDF-176A-6240-4DD113E5AA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FDA53-C7B6-2041-86F4-C555F222CE37}" type="datetimeFigureOut">
              <a:rPr lang="en-US" smtClean="0"/>
              <a:t>6/21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93A826-0B6A-9A2A-5E92-67FC8E4F1D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F58235-7E35-E20F-7F9F-F03BE47A82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67846-9A10-534A-A6CD-B0978F3C9B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89652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9C7E5-B1A8-7045-8F87-33FF811B62DD}" type="datetimeFigureOut">
              <a:rPr lang="en-US" smtClean="0"/>
              <a:t>6/2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663119-E198-9D4E-BF68-89B650FE36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131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C689B52E-F4B5-F499-6C36-31E5FF7EE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26728" y="346075"/>
            <a:ext cx="3998611" cy="65119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613964-C019-F547-9CA9-1D83E3422C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8325" y="1438275"/>
            <a:ext cx="6468095" cy="2166026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GB" dirty="0"/>
              <a:t>Add presentation title her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0CEF30-5D62-FDDA-E107-328B453B4A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8325" y="3626879"/>
            <a:ext cx="6468095" cy="1059470"/>
          </a:xfrm>
        </p:spPr>
        <p:txBody>
          <a:bodyPr/>
          <a:lstStyle>
            <a:lvl1pPr marL="0" indent="0" algn="l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 descr="A green and white logo&#10;&#10;Description automatically generated">
            <a:extLst>
              <a:ext uri="{FF2B5EF4-FFF2-40B4-BE49-F238E27FC236}">
                <a16:creationId xmlns:a16="http://schemas.microsoft.com/office/drawing/2014/main" id="{00554942-6B65-F928-2194-03E37E7F34D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752951-B570-28FF-80D7-D8DBCFDA679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325343" y="4641340"/>
            <a:ext cx="1681966" cy="664193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7D0E683-9619-F96D-3D12-DD1A51B8E0E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214732" y="944137"/>
            <a:ext cx="3337931" cy="5913863"/>
          </a:xfrm>
          <a:prstGeom prst="round2SameRect">
            <a:avLst>
              <a:gd name="adj1" fmla="val 16093"/>
              <a:gd name="adj2" fmla="val 0"/>
            </a:avLst>
          </a:prstGeom>
          <a:solidFill>
            <a:schemeClr val="tx1"/>
          </a:solidFill>
        </p:spPr>
        <p:txBody>
          <a:bodyPr bIns="720000" anchor="ctr" anchorCtr="0">
            <a:normAutofit/>
          </a:bodyPr>
          <a:lstStyle>
            <a:lvl1pPr algn="ctr">
              <a:defRPr sz="800" b="0"/>
            </a:lvl1pPr>
          </a:lstStyle>
          <a:p>
            <a:r>
              <a:rPr lang="en-US" dirty="0"/>
              <a:t>Click on the icon to add in an image in the phone frame</a:t>
            </a:r>
          </a:p>
        </p:txBody>
      </p:sp>
    </p:spTree>
    <p:extLst>
      <p:ext uri="{BB962C8B-B14F-4D97-AF65-F5344CB8AC3E}">
        <p14:creationId xmlns:p14="http://schemas.microsoft.com/office/powerpoint/2010/main" val="17124037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s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82F2790-C424-CD2C-F728-5AFDB44F04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483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1995B881-375F-9662-10AC-1DEF719A43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6670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08BF477E-BB19-99B7-2241-57890AEF95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2183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20056A6-181E-4173-AD4C-33D5EC96AC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6483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53D44EB5-A44E-382E-AFE7-A5DA7037817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6670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87D28C7D-E5A6-D9B1-BCC2-60AF679FF5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2183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AA4B27F-B1B0-5A51-23F9-33BFAB72E1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463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1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629AF1EE-D1AC-6375-0DD7-B8C9E95AB675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02F87E4F-7BD1-088D-7B8D-BF5EB54DB2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6320" y="2747962"/>
            <a:ext cx="3090272" cy="2120901"/>
          </a:xfrm>
        </p:spPr>
        <p:txBody>
          <a:bodyPr anchor="ctr" anchorCtr="0">
            <a:normAutofit/>
          </a:bodyPr>
          <a:lstStyle>
            <a:lvl1pPr>
              <a:defRPr sz="2400" b="1"/>
            </a:lvl1pPr>
          </a:lstStyle>
          <a:p>
            <a:pPr lvl="0"/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1C21A34-8C22-E08F-B6C9-1DBFF59FB2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4587" y="1830046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8F42677-42B9-96A0-A29A-B582515CF5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54587" y="3353893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A887FB7E-57DB-D34F-BEBA-1693FD250C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4587" y="4877740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53FA9C-7382-900B-89D3-9885680B30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79391" y="3552634"/>
            <a:ext cx="1295432" cy="511554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447BDA1-3CD4-F8F2-58F4-F690F6B7F1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2658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629AF1EE-D1AC-6375-0DD7-B8C9E95AB675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53FA9C-7382-900B-89D3-9885680B30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082" y="1191571"/>
            <a:ext cx="1295432" cy="51155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F9B6A2-C92E-C97F-8F81-946C778B53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3914" y="1703125"/>
            <a:ext cx="10524272" cy="568437"/>
          </a:xfrm>
        </p:spPr>
        <p:txBody>
          <a:bodyPr lIns="0" tIns="0" rIns="0" bIns="0"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2735344-F21B-2F9B-073C-E1216421A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914" y="2291227"/>
            <a:ext cx="10524272" cy="3887324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BB62641-0526-AC3B-E088-618401E440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834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6C3F429A-52E7-7D4B-7244-533B4ADB98D6}"/>
              </a:ext>
            </a:extLst>
          </p:cNvPr>
          <p:cNvSpPr/>
          <p:nvPr userDrawn="1"/>
        </p:nvSpPr>
        <p:spPr>
          <a:xfrm>
            <a:off x="568327" y="1438275"/>
            <a:ext cx="4784258" cy="5720808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65564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65564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80239E61-1C09-47E4-00C2-1630456A68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79E388B-4908-796E-F13F-30EB9EDCDE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890" y="1863668"/>
            <a:ext cx="4075132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78A8A45-A31E-3D4A-0C3D-912AD6125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2890" y="2466962"/>
            <a:ext cx="4075132" cy="371158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F9B1116-2ACB-190E-DF4E-C7D7A99A97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29440" y="2409144"/>
            <a:ext cx="1795529" cy="704578"/>
          </a:xfrm>
          <a:prstGeom prst="rect">
            <a:avLst/>
          </a:prstGeom>
        </p:spPr>
      </p:pic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53A86ED-9628-A95A-4037-E4A6571CB38D}"/>
              </a:ext>
            </a:extLst>
          </p:cNvPr>
          <p:cNvSpPr txBox="1">
            <a:spLocks/>
          </p:cNvSpPr>
          <p:nvPr userDrawn="1"/>
        </p:nvSpPr>
        <p:spPr>
          <a:xfrm>
            <a:off x="6835311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56A18FE8-213B-742F-9622-D79325990A1F}"/>
              </a:ext>
            </a:extLst>
          </p:cNvPr>
          <p:cNvSpPr/>
          <p:nvPr userDrawn="1"/>
        </p:nvSpPr>
        <p:spPr>
          <a:xfrm>
            <a:off x="6835313" y="1438275"/>
            <a:ext cx="4784258" cy="5720808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C2208-0371-00F0-AE94-615079DCF2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876" y="1863668"/>
            <a:ext cx="4075132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8D48C23F-36A4-3512-9E2E-468A4AF976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9876" y="2466962"/>
            <a:ext cx="4075132" cy="371158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169F0B7-E72B-91F0-C62E-AFFC5A1870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937546" y="2409144"/>
            <a:ext cx="1795529" cy="70457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3CB96A2-ECA9-F459-584C-A0D667D930D7}"/>
              </a:ext>
            </a:extLst>
          </p:cNvPr>
          <p:cNvGrpSpPr/>
          <p:nvPr userDrawn="1"/>
        </p:nvGrpSpPr>
        <p:grpSpPr>
          <a:xfrm rot="16200000" flipH="1">
            <a:off x="5697687" y="2146532"/>
            <a:ext cx="839685" cy="219460"/>
            <a:chOff x="4782046" y="4025299"/>
            <a:chExt cx="1163851" cy="304184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829E8B40-9990-54BF-9D6B-4DC4956FA46C}"/>
                </a:ext>
              </a:extLst>
            </p:cNvPr>
            <p:cNvSpPr/>
            <p:nvPr/>
          </p:nvSpPr>
          <p:spPr>
            <a:xfrm rot="16200000" flipH="1">
              <a:off x="5234346" y="3617931"/>
              <a:ext cx="304184" cy="1118919"/>
            </a:xfrm>
            <a:custGeom>
              <a:avLst/>
              <a:gdLst>
                <a:gd name="connsiteX0" fmla="*/ 0 w 2430684"/>
                <a:gd name="connsiteY0" fmla="*/ 0 h 4861367"/>
                <a:gd name="connsiteX1" fmla="*/ 2430684 w 2430684"/>
                <a:gd name="connsiteY1" fmla="*/ 2442258 h 4861367"/>
                <a:gd name="connsiteX2" fmla="*/ 23149 w 2430684"/>
                <a:gd name="connsiteY2" fmla="*/ 4861367 h 486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0684" h="4861367">
                  <a:moveTo>
                    <a:pt x="0" y="0"/>
                  </a:moveTo>
                  <a:lnTo>
                    <a:pt x="2430684" y="2442258"/>
                  </a:lnTo>
                  <a:lnTo>
                    <a:pt x="23149" y="4861367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DCEA638-1A6F-2498-2760-8D119680B9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78241">
              <a:off x="4782046" y="4042685"/>
              <a:ext cx="682237" cy="269409"/>
            </a:xfrm>
            <a:prstGeom prst="rect">
              <a:avLst/>
            </a:prstGeom>
          </p:spPr>
        </p:pic>
      </p:grp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F7A07131-4BCB-E7D4-EABC-E0EACE5871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1425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438274"/>
            <a:ext cx="4348726" cy="603294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1A9DFE-7311-D7E4-2127-822AE78559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78438" y="1605986"/>
            <a:ext cx="6316662" cy="4404852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315C9AD-415F-71F6-46E7-E1CDB6B3A4E5}"/>
              </a:ext>
            </a:extLst>
          </p:cNvPr>
          <p:cNvSpPr/>
          <p:nvPr userDrawn="1"/>
        </p:nvSpPr>
        <p:spPr>
          <a:xfrm rot="5400000" flipH="1">
            <a:off x="6287589" y="274137"/>
            <a:ext cx="4740275" cy="7068550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6634" y="1182498"/>
            <a:ext cx="1295432" cy="511554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6901" y="2041568"/>
            <a:ext cx="4348726" cy="4136982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9F94A32-C850-0A30-6529-E7D488080B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476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899" y="1438274"/>
            <a:ext cx="7760517" cy="603294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47FF00F-51E0-ADF5-77A0-97D715C2EA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778722" y="1605986"/>
            <a:ext cx="3413278" cy="4404852"/>
          </a:xfrm>
          <a:custGeom>
            <a:avLst/>
            <a:gdLst>
              <a:gd name="connsiteX0" fmla="*/ 265480 w 3413278"/>
              <a:gd name="connsiteY0" fmla="*/ 0 h 4404852"/>
              <a:gd name="connsiteX1" fmla="*/ 3413278 w 3413278"/>
              <a:gd name="connsiteY1" fmla="*/ 0 h 4404852"/>
              <a:gd name="connsiteX2" fmla="*/ 3413278 w 3413278"/>
              <a:gd name="connsiteY2" fmla="*/ 4404852 h 4404852"/>
              <a:gd name="connsiteX3" fmla="*/ 265480 w 3413278"/>
              <a:gd name="connsiteY3" fmla="*/ 4404852 h 4404852"/>
              <a:gd name="connsiteX4" fmla="*/ 0 w 3413278"/>
              <a:gd name="connsiteY4" fmla="*/ 4139372 h 4404852"/>
              <a:gd name="connsiteX5" fmla="*/ 0 w 3413278"/>
              <a:gd name="connsiteY5" fmla="*/ 265480 h 4404852"/>
              <a:gd name="connsiteX6" fmla="*/ 265480 w 3413278"/>
              <a:gd name="connsiteY6" fmla="*/ 0 h 4404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3278" h="4404852">
                <a:moveTo>
                  <a:pt x="265480" y="0"/>
                </a:moveTo>
                <a:lnTo>
                  <a:pt x="3413278" y="0"/>
                </a:lnTo>
                <a:lnTo>
                  <a:pt x="3413278" y="4404852"/>
                </a:lnTo>
                <a:lnTo>
                  <a:pt x="265480" y="4404852"/>
                </a:lnTo>
                <a:cubicBezTo>
                  <a:pt x="118859" y="4404852"/>
                  <a:pt x="0" y="4285993"/>
                  <a:pt x="0" y="4139372"/>
                </a:cubicBezTo>
                <a:lnTo>
                  <a:pt x="0" y="265480"/>
                </a:lnTo>
                <a:cubicBezTo>
                  <a:pt x="0" y="118859"/>
                  <a:pt x="118859" y="0"/>
                  <a:pt x="26548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bIns="900000" anchor="ctr" anchorCtr="0">
            <a:no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A824A544-8915-16F3-1008-663FC6698D1A}"/>
              </a:ext>
            </a:extLst>
          </p:cNvPr>
          <p:cNvSpPr/>
          <p:nvPr userDrawn="1"/>
        </p:nvSpPr>
        <p:spPr>
          <a:xfrm rot="5400000" flipH="1">
            <a:off x="8039497" y="2022513"/>
            <a:ext cx="4740275" cy="3571799"/>
          </a:xfrm>
          <a:custGeom>
            <a:avLst/>
            <a:gdLst>
              <a:gd name="connsiteX0" fmla="*/ 4740275 w 4740275"/>
              <a:gd name="connsiteY0" fmla="*/ 3183477 h 3571799"/>
              <a:gd name="connsiteX1" fmla="*/ 4740275 w 4740275"/>
              <a:gd name="connsiteY1" fmla="*/ 0 h 3571799"/>
              <a:gd name="connsiteX2" fmla="*/ 0 w 4740275"/>
              <a:gd name="connsiteY2" fmla="*/ 0 h 3571799"/>
              <a:gd name="connsiteX3" fmla="*/ 0 w 4740275"/>
              <a:gd name="connsiteY3" fmla="*/ 3183477 h 3571799"/>
              <a:gd name="connsiteX4" fmla="*/ 388323 w 4740275"/>
              <a:gd name="connsiteY4" fmla="*/ 3571799 h 3571799"/>
              <a:gd name="connsiteX5" fmla="*/ 4351952 w 4740275"/>
              <a:gd name="connsiteY5" fmla="*/ 3571799 h 3571799"/>
              <a:gd name="connsiteX6" fmla="*/ 4740275 w 4740275"/>
              <a:gd name="connsiteY6" fmla="*/ 3183477 h 3571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40275" h="3571799">
                <a:moveTo>
                  <a:pt x="4740275" y="3183477"/>
                </a:moveTo>
                <a:lnTo>
                  <a:pt x="4740275" y="0"/>
                </a:lnTo>
                <a:lnTo>
                  <a:pt x="0" y="0"/>
                </a:lnTo>
                <a:lnTo>
                  <a:pt x="0" y="3183477"/>
                </a:lnTo>
                <a:cubicBezTo>
                  <a:pt x="0" y="3397941"/>
                  <a:pt x="173858" y="3571799"/>
                  <a:pt x="388323" y="3571799"/>
                </a:cubicBezTo>
                <a:lnTo>
                  <a:pt x="4351952" y="3571799"/>
                </a:lnTo>
                <a:cubicBezTo>
                  <a:pt x="4566417" y="3571799"/>
                  <a:pt x="4740275" y="3397941"/>
                  <a:pt x="4740275" y="3183477"/>
                </a:cubicBezTo>
                <a:close/>
              </a:path>
            </a:pathLst>
          </a:cu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6918" y="1182498"/>
            <a:ext cx="1295432" cy="511554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6901" y="2041568"/>
            <a:ext cx="7760518" cy="4136982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44909BD-7E77-C04E-7991-ABC700FBDD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291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E4A41E48-60DE-B173-AE35-D6056054D53E}"/>
              </a:ext>
            </a:extLst>
          </p:cNvPr>
          <p:cNvSpPr/>
          <p:nvPr userDrawn="1"/>
        </p:nvSpPr>
        <p:spPr>
          <a:xfrm>
            <a:off x="568327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197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197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42EDE7AB-04D5-814E-7EFA-ACED482A74A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9330" y="2022788"/>
            <a:ext cx="1795529" cy="704578"/>
          </a:xfrm>
          <a:prstGeom prst="rect">
            <a:avLst/>
          </a:prstGeom>
        </p:spPr>
      </p:pic>
      <p:sp>
        <p:nvSpPr>
          <p:cNvPr id="77" name="Picture Placeholder 76">
            <a:extLst>
              <a:ext uri="{FF2B5EF4-FFF2-40B4-BE49-F238E27FC236}">
                <a16:creationId xmlns:a16="http://schemas.microsoft.com/office/drawing/2014/main" id="{9C6C2241-B942-ECB5-0E6A-2D7698D6A8F0}"/>
              </a:ext>
            </a:extLst>
          </p:cNvPr>
          <p:cNvSpPr>
            <a:spLocks noGrp="1"/>
          </p:cNvSpPr>
          <p:nvPr userDrawn="1">
            <p:ph type="pic" sz="quarter" idx="18" hasCustomPrompt="1"/>
          </p:nvPr>
        </p:nvSpPr>
        <p:spPr>
          <a:xfrm>
            <a:off x="843197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3F340999-69AD-DB60-A16F-21FA2E6696FC}"/>
              </a:ext>
            </a:extLst>
          </p:cNvPr>
          <p:cNvSpPr/>
          <p:nvPr userDrawn="1"/>
        </p:nvSpPr>
        <p:spPr>
          <a:xfrm>
            <a:off x="4342163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 Placeholder 6">
            <a:extLst>
              <a:ext uri="{FF2B5EF4-FFF2-40B4-BE49-F238E27FC236}">
                <a16:creationId xmlns:a16="http://schemas.microsoft.com/office/drawing/2014/main" id="{F2F5517F-AB01-20C2-CCB2-0C88A4F3CD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17033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3C950159-F83D-50A3-3F6E-DFF10724D0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17033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0F42CCB2-C8A8-0C2C-4891-7002B7CCE6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3166" y="2022788"/>
            <a:ext cx="1795529" cy="704578"/>
          </a:xfrm>
          <a:prstGeom prst="rect">
            <a:avLst/>
          </a:prstGeom>
        </p:spPr>
      </p:pic>
      <p:sp>
        <p:nvSpPr>
          <p:cNvPr id="94" name="Picture Placeholder 76">
            <a:extLst>
              <a:ext uri="{FF2B5EF4-FFF2-40B4-BE49-F238E27FC236}">
                <a16:creationId xmlns:a16="http://schemas.microsoft.com/office/drawing/2014/main" id="{823094DA-013A-ABF1-F8B8-7563EA59A5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617033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C8E7BE84-4700-DDF6-F7A5-BEAAB0C36012}"/>
              </a:ext>
            </a:extLst>
          </p:cNvPr>
          <p:cNvSpPr/>
          <p:nvPr userDrawn="1"/>
        </p:nvSpPr>
        <p:spPr>
          <a:xfrm>
            <a:off x="8116000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7A7974EB-99F2-1A2D-D586-EF2FC603A9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90870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97" name="Text Placeholder 13">
            <a:extLst>
              <a:ext uri="{FF2B5EF4-FFF2-40B4-BE49-F238E27FC236}">
                <a16:creationId xmlns:a16="http://schemas.microsoft.com/office/drawing/2014/main" id="{9BDDC9BB-336E-BFDB-16AC-F370AEA957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90870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738FBB97-E815-1419-E5E9-A07D531345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7003" y="2022788"/>
            <a:ext cx="1795529" cy="704578"/>
          </a:xfrm>
          <a:prstGeom prst="rect">
            <a:avLst/>
          </a:prstGeom>
        </p:spPr>
      </p:pic>
      <p:sp>
        <p:nvSpPr>
          <p:cNvPr id="99" name="Picture Placeholder 76">
            <a:extLst>
              <a:ext uri="{FF2B5EF4-FFF2-40B4-BE49-F238E27FC236}">
                <a16:creationId xmlns:a16="http://schemas.microsoft.com/office/drawing/2014/main" id="{27C163F9-3CFD-68EE-E982-EDA860633A6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90870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06D183-50B4-B913-0DD1-C8D62D0E63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794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1A9DFE-7311-D7E4-2127-822AE78559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7132" y="1604430"/>
            <a:ext cx="4990825" cy="2191815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315C9AD-415F-71F6-46E7-E1CDB6B3A4E5}"/>
              </a:ext>
            </a:extLst>
          </p:cNvPr>
          <p:cNvSpPr/>
          <p:nvPr userDrawn="1"/>
        </p:nvSpPr>
        <p:spPr>
          <a:xfrm rot="5400000" flipH="1">
            <a:off x="2222499" y="-215900"/>
            <a:ext cx="2524125" cy="5832475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357" y="1182498"/>
            <a:ext cx="1295432" cy="511554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0D92767A-0204-5546-6923-4FF933CB8CB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38060" y="1604430"/>
            <a:ext cx="4990825" cy="2191815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4AA5FBD5-D7E5-7684-15AF-96F381BC0A9D}"/>
              </a:ext>
            </a:extLst>
          </p:cNvPr>
          <p:cNvSpPr/>
          <p:nvPr userDrawn="1"/>
        </p:nvSpPr>
        <p:spPr>
          <a:xfrm rot="5400000" flipH="1">
            <a:off x="8123427" y="-215900"/>
            <a:ext cx="2524125" cy="5832475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F68047B-B650-4BBD-3A24-50787451DD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9285" y="1182498"/>
            <a:ext cx="1295432" cy="51155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325" y="4274627"/>
            <a:ext cx="4551130" cy="603294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26" y="4877921"/>
            <a:ext cx="5159632" cy="1300629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B62370D0-895B-94CB-C987-DF0BC3527C45}"/>
              </a:ext>
            </a:extLst>
          </p:cNvPr>
          <p:cNvSpPr/>
          <p:nvPr userDrawn="1"/>
        </p:nvSpPr>
        <p:spPr>
          <a:xfrm rot="5400000">
            <a:off x="5306579" y="3735913"/>
            <a:ext cx="229046" cy="603294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9525" cap="rnd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BFAD9B3-31DF-4B58-01EB-C586EDC296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89253">
            <a:off x="4987129" y="3924534"/>
            <a:ext cx="561829" cy="221861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A32620-BB7A-DF93-E21A-286E6EE8CA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64044" y="4274627"/>
            <a:ext cx="4531955" cy="603294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7B41FE18-6D28-50F1-A992-68B8049602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4045" y="4877921"/>
            <a:ext cx="5131056" cy="1300629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51CAF205-7111-0FBF-F3FF-9EE683F33D39}"/>
              </a:ext>
            </a:extLst>
          </p:cNvPr>
          <p:cNvSpPr/>
          <p:nvPr userDrawn="1"/>
        </p:nvSpPr>
        <p:spPr>
          <a:xfrm rot="5400000">
            <a:off x="11183123" y="3735913"/>
            <a:ext cx="229046" cy="603294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9525" cap="rnd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90A5B41-9BDB-0296-1D0C-C576E936AA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89253">
            <a:off x="10853663" y="3916077"/>
            <a:ext cx="561829" cy="221861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0054A8D-DCB2-116A-A196-7DC1CC53C7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247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A5FDE2B-BCB1-1AC9-DFF7-6A14E177CA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4726" y="2645796"/>
            <a:ext cx="1645194" cy="3035976"/>
          </a:xfrm>
          <a:prstGeom prst="rect">
            <a:avLst/>
          </a:prstGeom>
        </p:spPr>
      </p:pic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3EFB0B6-A17F-27CD-3AB1-C2BA56E0F7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19511" y="1694052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B98A0BC8-C989-24E2-ACF7-D879AB8CD4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19511" y="3217899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36B9CB7A-16ED-AF93-7673-D7188C7E68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19511" y="4741746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7D51A1A-53BF-18CB-0DE4-3CA9C2502BC5}"/>
              </a:ext>
            </a:extLst>
          </p:cNvPr>
          <p:cNvGrpSpPr/>
          <p:nvPr userDrawn="1"/>
        </p:nvGrpSpPr>
        <p:grpSpPr>
          <a:xfrm>
            <a:off x="5622351" y="2798893"/>
            <a:ext cx="6297836" cy="511554"/>
            <a:chOff x="423392" y="2983348"/>
            <a:chExt cx="6297836" cy="511554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170AF9-7BD2-BB4C-804B-FD8AACEAA2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6A89B04-1DFB-BB65-7387-387750F3D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DCB2D-F5A5-8B7C-ECEB-097DC525FDE3}"/>
              </a:ext>
            </a:extLst>
          </p:cNvPr>
          <p:cNvGrpSpPr/>
          <p:nvPr userDrawn="1"/>
        </p:nvGrpSpPr>
        <p:grpSpPr>
          <a:xfrm>
            <a:off x="5622351" y="4322893"/>
            <a:ext cx="6297836" cy="511554"/>
            <a:chOff x="423392" y="2983348"/>
            <a:chExt cx="6297836" cy="511554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074BAB1-4381-9800-D2EA-178A08D0E4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53B2AEB-706C-EF62-7B29-F0A131BAA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300428A-C2A1-982E-7AD1-32E89E3D9D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22335" y="6356350"/>
            <a:ext cx="4497479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3802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2891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0796098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42154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DCB2D-F5A5-8B7C-ECEB-097DC525FDE3}"/>
              </a:ext>
            </a:extLst>
          </p:cNvPr>
          <p:cNvGrpSpPr/>
          <p:nvPr userDrawn="1"/>
        </p:nvGrpSpPr>
        <p:grpSpPr>
          <a:xfrm>
            <a:off x="-179291" y="5276250"/>
            <a:ext cx="8333983" cy="511554"/>
            <a:chOff x="423392" y="2983348"/>
            <a:chExt cx="6297836" cy="511554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074BAB1-4381-9800-D2EA-178A08D0E4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53B2AEB-706C-EF62-7B29-F0A131BAA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2995843-3A7A-ABAC-38B6-DE89BBF6DB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7559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674C215-B237-A985-6E13-2C79783706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559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841EA15-1E97-BF5F-7C0E-2734FC56AA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78358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58843183-5923-C50D-1D79-2163AFD52F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78358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297DBBC-8CC4-DAED-7816-D1C73A7F6D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769158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8F8CAEAF-469A-5641-E5F6-E1245A7B3D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69158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C98A1F55-557B-1256-9308-1B683BB6A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8327" y="6356350"/>
            <a:ext cx="7284755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904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13964-C019-F547-9CA9-1D83E3422C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8325" y="1438275"/>
            <a:ext cx="6468095" cy="2166026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GB" dirty="0"/>
              <a:t>Add presentation title her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0CEF30-5D62-FDDA-E107-328B453B4A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8325" y="3626879"/>
            <a:ext cx="6468095" cy="1059470"/>
          </a:xfrm>
        </p:spPr>
        <p:txBody>
          <a:bodyPr/>
          <a:lstStyle>
            <a:lvl1pPr marL="0" indent="0" algn="l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 descr="A green and white logo&#10;&#10;Description automatically generated">
            <a:extLst>
              <a:ext uri="{FF2B5EF4-FFF2-40B4-BE49-F238E27FC236}">
                <a16:creationId xmlns:a16="http://schemas.microsoft.com/office/drawing/2014/main" id="{00554942-6B65-F928-2194-03E37E7F34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BF527EA3-E187-D9F3-3081-E8836FA46F5D}"/>
              </a:ext>
            </a:extLst>
          </p:cNvPr>
          <p:cNvGrpSpPr/>
          <p:nvPr userDrawn="1"/>
        </p:nvGrpSpPr>
        <p:grpSpPr>
          <a:xfrm>
            <a:off x="6015992" y="-312938"/>
            <a:ext cx="6835727" cy="7682593"/>
            <a:chOff x="6015992" y="-312938"/>
            <a:chExt cx="6835727" cy="7682593"/>
          </a:xfrm>
        </p:grpSpPr>
        <p:pic>
          <p:nvPicPr>
            <p:cNvPr id="29" name="Picture 28" descr="A cell phone with a screen showing the time and time&#10;&#10;Description automatically generated with medium confidence">
              <a:extLst>
                <a:ext uri="{FF2B5EF4-FFF2-40B4-BE49-F238E27FC236}">
                  <a16:creationId xmlns:a16="http://schemas.microsoft.com/office/drawing/2014/main" id="{EE46E980-25B3-03AE-01C8-633D3CCCFB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755747">
              <a:off x="6015992" y="-312938"/>
              <a:ext cx="6835727" cy="7682593"/>
            </a:xfrm>
            <a:custGeom>
              <a:avLst/>
              <a:gdLst>
                <a:gd name="connsiteX0" fmla="*/ 0 w 6835727"/>
                <a:gd name="connsiteY0" fmla="*/ 989646 h 7682593"/>
                <a:gd name="connsiteX1" fmla="*/ 4428954 w 6835727"/>
                <a:gd name="connsiteY1" fmla="*/ 0 h 7682593"/>
                <a:gd name="connsiteX2" fmla="*/ 5385691 w 6835727"/>
                <a:gd name="connsiteY2" fmla="*/ 0 h 7682593"/>
                <a:gd name="connsiteX3" fmla="*/ 6835727 w 6835727"/>
                <a:gd name="connsiteY3" fmla="*/ 6489332 h 7682593"/>
                <a:gd name="connsiteX4" fmla="*/ 1495534 w 6835727"/>
                <a:gd name="connsiteY4" fmla="*/ 7682593 h 768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35727" h="7682593">
                  <a:moveTo>
                    <a:pt x="0" y="989646"/>
                  </a:moveTo>
                  <a:lnTo>
                    <a:pt x="4428954" y="0"/>
                  </a:lnTo>
                  <a:lnTo>
                    <a:pt x="5385691" y="0"/>
                  </a:lnTo>
                  <a:lnTo>
                    <a:pt x="6835727" y="6489332"/>
                  </a:lnTo>
                  <a:lnTo>
                    <a:pt x="1495534" y="7682593"/>
                  </a:lnTo>
                  <a:close/>
                </a:path>
              </a:pathLst>
            </a:cu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83FFEFB-CA53-6823-1F3A-4ED9C36FF6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6204336">
              <a:off x="7161924" y="4365085"/>
              <a:ext cx="1568685" cy="6194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24197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3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04C6979A-6CC2-AA01-2004-C9B228B716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83"/>
          <a:stretch/>
        </p:blipFill>
        <p:spPr>
          <a:xfrm>
            <a:off x="4" y="0"/>
            <a:ext cx="12191996" cy="6858000"/>
          </a:xfrm>
          <a:prstGeom prst="rect">
            <a:avLst/>
          </a:prstGeom>
        </p:spPr>
      </p:pic>
      <p:pic>
        <p:nvPicPr>
          <p:cNvPr id="20" name="Picture 19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6B64265B-6CFA-F5B8-1031-794A9333A5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31" r="-10965"/>
          <a:stretch/>
        </p:blipFill>
        <p:spPr>
          <a:xfrm rot="10800000">
            <a:off x="0" y="374696"/>
            <a:ext cx="10039970" cy="64836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3350" y="6356350"/>
            <a:ext cx="3133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pic>
        <p:nvPicPr>
          <p:cNvPr id="12" name="Picture 11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8B29B39E-BCBD-0EC7-9DD4-D273C2D3C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412"/>
          <a:stretch/>
        </p:blipFill>
        <p:spPr>
          <a:xfrm>
            <a:off x="0" y="921581"/>
            <a:ext cx="7356581" cy="59364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47B079-E3A7-8E32-6361-398D8A5212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214563" y="2058943"/>
            <a:ext cx="1681966" cy="664193"/>
          </a:xfrm>
          <a:prstGeom prst="rect">
            <a:avLst/>
          </a:prstGeom>
        </p:spPr>
      </p:pic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2733AFE1-642E-19B7-B41D-1FBD419757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60619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08FB64F-7BAC-963C-506B-9738B6473B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59507" y="1934224"/>
            <a:ext cx="4135593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ABEE995B-BEA9-248C-8744-BEB877FBCD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59507" y="2860695"/>
            <a:ext cx="4135593" cy="331785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1D3EA0F8-C9FD-105C-CFB4-B4263EBD5F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59507" y="6356350"/>
            <a:ext cx="3609502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510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4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6604ED46-73F3-153B-DAE6-8F9FD2270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31" r="-10965"/>
          <a:stretch/>
        </p:blipFill>
        <p:spPr>
          <a:xfrm rot="10800000">
            <a:off x="0" y="374696"/>
            <a:ext cx="10039970" cy="6483689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74C623C-2897-F24D-CB4C-744679D26F56}"/>
              </a:ext>
            </a:extLst>
          </p:cNvPr>
          <p:cNvSpPr/>
          <p:nvPr userDrawn="1"/>
        </p:nvSpPr>
        <p:spPr>
          <a:xfrm rot="5400000" flipH="1">
            <a:off x="7384234" y="1774029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7CA82938-7756-52EC-8B73-74259D4B9067}"/>
              </a:ext>
            </a:extLst>
          </p:cNvPr>
          <p:cNvSpPr/>
          <p:nvPr userDrawn="1"/>
        </p:nvSpPr>
        <p:spPr>
          <a:xfrm rot="5400000" flipH="1">
            <a:off x="7384234" y="314506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65D48AE3-3B4F-82BA-09A8-FBFEB5ECB3E1}"/>
              </a:ext>
            </a:extLst>
          </p:cNvPr>
          <p:cNvSpPr/>
          <p:nvPr userDrawn="1"/>
        </p:nvSpPr>
        <p:spPr>
          <a:xfrm rot="5400000" flipH="1">
            <a:off x="7384233" y="-1130134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9" name="Picture 18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04C6979A-6CC2-AA01-2004-C9B228B716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83"/>
          <a:stretch/>
        </p:blipFill>
        <p:spPr>
          <a:xfrm>
            <a:off x="4" y="0"/>
            <a:ext cx="1219199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3350" y="6356350"/>
            <a:ext cx="3133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pic>
        <p:nvPicPr>
          <p:cNvPr id="12" name="Picture 11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8B29B39E-BCBD-0EC7-9DD4-D273C2D3C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312" y="921581"/>
            <a:ext cx="6761269" cy="59364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47B079-E3A7-8E32-6361-398D8A5212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214563" y="2058943"/>
            <a:ext cx="1681966" cy="664193"/>
          </a:xfrm>
          <a:prstGeom prst="rect">
            <a:avLst/>
          </a:prstGeom>
        </p:spPr>
      </p:pic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2733AFE1-642E-19B7-B41D-1FBD419757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60619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4D457A99-2AE7-5282-8B36-07E7A7404D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55571" y="2013177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895B3AE2-3074-9A7C-8BAB-877E547F14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55571" y="3462835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4BF507E-827D-568C-99C0-8B24368F70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55571" y="4934796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0377E8-5D32-4344-893A-4EA40DAA04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59507" y="6356350"/>
            <a:ext cx="3609502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3087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EF567FB9-1942-79F5-E824-B23719A08B53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2BDB989-9983-70CF-D9EF-E0D8E7C81B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082" y="1191571"/>
            <a:ext cx="1295432" cy="511554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4307789-638C-77AD-BE7A-89D12C9308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3914" y="5419725"/>
            <a:ext cx="2432242" cy="741988"/>
          </a:xfrm>
        </p:spPr>
        <p:txBody>
          <a:bodyPr lIns="0" tIns="0" r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9CCEA5-10A6-CF20-A6E4-5C1B1E8032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12" y="5419725"/>
            <a:ext cx="7579074" cy="741988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6" name="Chart Placeholder 15">
            <a:extLst>
              <a:ext uri="{FF2B5EF4-FFF2-40B4-BE49-F238E27FC236}">
                <a16:creationId xmlns:a16="http://schemas.microsoft.com/office/drawing/2014/main" id="{4006C801-40A7-9ACB-80D4-8E62B93F5C56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807303" y="1703387"/>
            <a:ext cx="10524272" cy="331110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18D7B75-5B78-74D8-876F-255C87385A2D}"/>
              </a:ext>
            </a:extLst>
          </p:cNvPr>
          <p:cNvCxnSpPr>
            <a:cxnSpLocks/>
          </p:cNvCxnSpPr>
          <p:nvPr userDrawn="1"/>
        </p:nvCxnSpPr>
        <p:spPr>
          <a:xfrm flipH="1">
            <a:off x="823914" y="5128797"/>
            <a:ext cx="10772774" cy="0"/>
          </a:xfrm>
          <a:prstGeom prst="line">
            <a:avLst/>
          </a:prstGeom>
          <a:ln w="9525">
            <a:gradFill>
              <a:gsLst>
                <a:gs pos="35000">
                  <a:srgbClr val="48FF9B"/>
                </a:gs>
                <a:gs pos="100000">
                  <a:schemeClr val="accent1">
                    <a:alpha val="0"/>
                  </a:schemeClr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D9DF322-6F30-F83F-ED1B-EAD44DD39D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5" y="6356350"/>
            <a:ext cx="8009618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9132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EF567FB9-1942-79F5-E824-B23719A08B53}"/>
              </a:ext>
            </a:extLst>
          </p:cNvPr>
          <p:cNvSpPr/>
          <p:nvPr userDrawn="1"/>
        </p:nvSpPr>
        <p:spPr>
          <a:xfrm>
            <a:off x="6096000" y="1438275"/>
            <a:ext cx="5499100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2BDB989-9983-70CF-D9EF-E0D8E7C81B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1191571"/>
            <a:ext cx="1295432" cy="511554"/>
          </a:xfrm>
          <a:prstGeom prst="rect">
            <a:avLst/>
          </a:prstGeom>
        </p:spPr>
      </p:pic>
      <p:sp>
        <p:nvSpPr>
          <p:cNvPr id="16" name="Chart Placeholder 15">
            <a:extLst>
              <a:ext uri="{FF2B5EF4-FFF2-40B4-BE49-F238E27FC236}">
                <a16:creationId xmlns:a16="http://schemas.microsoft.com/office/drawing/2014/main" id="{4006C801-40A7-9ACB-80D4-8E62B93F5C56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435919" y="1703388"/>
            <a:ext cx="4819263" cy="44751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4D3C7D9-4E72-8ADC-703A-EAD3B240B4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7559" y="1721224"/>
            <a:ext cx="2534782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B23CC11-F41D-7E8F-7258-4EAC72C1B2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559" y="2638125"/>
            <a:ext cx="2534782" cy="354042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E303BFB7-8ACE-2287-9584-48CDD88E440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41779" y="1721224"/>
            <a:ext cx="2534782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3F6FA235-5D7C-D834-40F0-3B66C3F4E1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41779" y="2638125"/>
            <a:ext cx="2534782" cy="354042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B6D2D9B-9F2F-6D19-AF9E-4D014D07A3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8325" y="6356350"/>
            <a:ext cx="8009618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239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and white logo&#10;&#10;Description automatically generated">
            <a:extLst>
              <a:ext uri="{FF2B5EF4-FFF2-40B4-BE49-F238E27FC236}">
                <a16:creationId xmlns:a16="http://schemas.microsoft.com/office/drawing/2014/main" id="{D1227B57-0955-D5A3-593A-25539929B8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05609"/>
            <a:ext cx="2656029" cy="1641414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7D0D1CF-2D6B-E135-5965-6E3981114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5" y="3980484"/>
            <a:ext cx="4781888" cy="2198065"/>
          </a:xfrm>
        </p:spPr>
        <p:txBody>
          <a:bodyPr anchor="ctr" anchorCtr="0">
            <a:noAutofit/>
          </a:bodyPr>
          <a:lstStyle>
            <a:lvl1pPr algn="l">
              <a:defRPr sz="7200"/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C8EB0DA-4551-0F6C-380D-A305185930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4603147"/>
            <a:ext cx="4137498" cy="540867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400" b="0" spc="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CONTACT DETAILS HERE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2696568-2129-24B0-76E9-68479D19A0B2}"/>
              </a:ext>
            </a:extLst>
          </p:cNvPr>
          <p:cNvGrpSpPr/>
          <p:nvPr userDrawn="1"/>
        </p:nvGrpSpPr>
        <p:grpSpPr>
          <a:xfrm rot="5400000">
            <a:off x="4552580" y="4752246"/>
            <a:ext cx="2341052" cy="511554"/>
            <a:chOff x="423392" y="2983348"/>
            <a:chExt cx="2341052" cy="511554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CE3E349-5EE1-981D-1DB3-7F2F3A3B5D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664836" y="2139517"/>
              <a:ext cx="0" cy="2199217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295E266-9267-5C23-2D92-EF314BD80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20" name="Text Placeholder 46">
            <a:extLst>
              <a:ext uri="{FF2B5EF4-FFF2-40B4-BE49-F238E27FC236}">
                <a16:creationId xmlns:a16="http://schemas.microsoft.com/office/drawing/2014/main" id="{6E3ABDB7-9495-F9DE-DC8B-7ACA3F1D60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5234115"/>
            <a:ext cx="413749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more detail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61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D3EB4A-1431-1665-96CD-C66C2948D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039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E637479-6951-ED17-3908-7817BFE68D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916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74F76FD-3B3C-F469-DEA3-C503C38737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518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AB5E26E-21FF-BC33-73EE-486EE11CD8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812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37">
            <a:extLst>
              <a:ext uri="{FF2B5EF4-FFF2-40B4-BE49-F238E27FC236}">
                <a16:creationId xmlns:a16="http://schemas.microsoft.com/office/drawing/2014/main" id="{80686AD0-1CF7-BCB6-FBA4-4C61A99912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9614" y="1891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28A06EDB-E02F-295B-6A97-B530B0805C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19614" y="3415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5" name="Text Placeholder 37">
            <a:extLst>
              <a:ext uri="{FF2B5EF4-FFF2-40B4-BE49-F238E27FC236}">
                <a16:creationId xmlns:a16="http://schemas.microsoft.com/office/drawing/2014/main" id="{C5F0F427-0F46-4572-851A-0F471C1C5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19614" y="4950433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F9E879A-21B3-D3C1-813A-F6D5CDCA76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1891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151BAC4F-395F-D1B1-BE4F-23F4404234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325" y="3415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9FBCA576-B80A-BC89-23D6-404505EEC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25" y="4950433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BBA86B9-09E6-D0D5-B88B-CE7E31678B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04419" y="1839850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54B9DB6E-B728-8A86-02AC-DCD65B3BE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04419" y="2212383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22DCAA7F-65C3-27A1-9B5B-BD4D0FF881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4419" y="3329983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51694562-952A-1800-9521-D7D9E28F139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04419" y="3702516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40254814-8442-3DE5-5F4D-8423C8F64F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04419" y="4853983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66FED2A1-6468-F3FF-2AD9-70283C4335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04419" y="5226516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C68F025B-4D46-9FDC-384F-10A60DC64D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8999" y="1839850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C8B41C5D-9D7C-5726-5555-C1DC1272D6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58999" y="2212383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5" name="Text Placeholder 46">
            <a:extLst>
              <a:ext uri="{FF2B5EF4-FFF2-40B4-BE49-F238E27FC236}">
                <a16:creationId xmlns:a16="http://schemas.microsoft.com/office/drawing/2014/main" id="{F80DE9D6-A4DC-F771-2928-522687B2CB1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8999" y="3329983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6" name="Text Placeholder 46">
            <a:extLst>
              <a:ext uri="{FF2B5EF4-FFF2-40B4-BE49-F238E27FC236}">
                <a16:creationId xmlns:a16="http://schemas.microsoft.com/office/drawing/2014/main" id="{273DA242-B601-6648-3C13-04A0C75A5FB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8999" y="3702516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7" name="Text Placeholder 46">
            <a:extLst>
              <a:ext uri="{FF2B5EF4-FFF2-40B4-BE49-F238E27FC236}">
                <a16:creationId xmlns:a16="http://schemas.microsoft.com/office/drawing/2014/main" id="{2C55B33F-A322-B783-36FB-68DD133009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58999" y="4853983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8" name="Text Placeholder 46">
            <a:extLst>
              <a:ext uri="{FF2B5EF4-FFF2-40B4-BE49-F238E27FC236}">
                <a16:creationId xmlns:a16="http://schemas.microsoft.com/office/drawing/2014/main" id="{E8161410-E23E-74FA-82DC-F6D2867D5A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58999" y="5226516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9DDB41B-7F8F-97DD-9C4E-80C109EDB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7FF9429-3865-55E8-1C88-9822AA055ED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F4AD3F0-1F15-6283-800E-B3E89397081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564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white logo&#10;&#10;Description automatically generated">
            <a:extLst>
              <a:ext uri="{FF2B5EF4-FFF2-40B4-BE49-F238E27FC236}">
                <a16:creationId xmlns:a16="http://schemas.microsoft.com/office/drawing/2014/main" id="{D11721E2-C686-A98F-C6FD-D964277D4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6E85E84-E5E7-4A8A-A1F8-9A2E81B84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6" y="1993106"/>
            <a:ext cx="5803900" cy="2871788"/>
          </a:xfrm>
        </p:spPr>
        <p:txBody>
          <a:bodyPr anchor="ctr" anchorCtr="0">
            <a:noAutofit/>
          </a:bodyPr>
          <a:lstStyle>
            <a:lvl1pPr>
              <a:defRPr sz="4400" b="0"/>
            </a:lvl1pPr>
          </a:lstStyle>
          <a:p>
            <a:r>
              <a:rPr lang="en-GB" dirty="0"/>
              <a:t>Statement paragraph goes here. Keep text short. Use peppermint green to highligh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511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white logo&#10;&#10;Description automatically generated">
            <a:extLst>
              <a:ext uri="{FF2B5EF4-FFF2-40B4-BE49-F238E27FC236}">
                <a16:creationId xmlns:a16="http://schemas.microsoft.com/office/drawing/2014/main" id="{D11721E2-C686-A98F-C6FD-D964277D4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6E85E84-E5E7-4A8A-A1F8-9A2E81B84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5" y="3184574"/>
            <a:ext cx="11028363" cy="540565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GB" dirty="0"/>
              <a:t>Section break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502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7B11059-715D-1D50-23E9-9B25BE98D8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4483507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7772400" imgH="10058400" progId="TCLayout.ActiveDocument.1">
                  <p:embed/>
                </p:oleObj>
              </mc:Choice>
              <mc:Fallback>
                <p:oleObj name="think-cell Slide" r:id="rId2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344997-2441-3549-C698-8272EB280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1028363" cy="9284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1F6727-82E5-B109-35FE-DFE80FEC2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8325" y="1438275"/>
            <a:ext cx="11028363" cy="4738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50CBE-35AF-B0A0-0258-B32CA8B8D8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53488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48A4540-17A6-04FE-2466-6F9E058C43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5" y="6356350"/>
            <a:ext cx="7241082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45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77" r:id="rId3"/>
    <p:sldLayoutId id="2147483684" r:id="rId4"/>
    <p:sldLayoutId id="2147483685" r:id="rId5"/>
    <p:sldLayoutId id="2147483686" r:id="rId6"/>
    <p:sldLayoutId id="2147483666" r:id="rId7"/>
    <p:sldLayoutId id="2147483667" r:id="rId8"/>
    <p:sldLayoutId id="2147483656" r:id="rId9"/>
    <p:sldLayoutId id="2147483668" r:id="rId10"/>
    <p:sldLayoutId id="2147483661" r:id="rId11"/>
    <p:sldLayoutId id="2147483669" r:id="rId12"/>
    <p:sldLayoutId id="2147483660" r:id="rId13"/>
    <p:sldLayoutId id="2147483654" r:id="rId14"/>
    <p:sldLayoutId id="2147483670" r:id="rId15"/>
    <p:sldLayoutId id="2147483671" r:id="rId16"/>
    <p:sldLayoutId id="2147483672" r:id="rId17"/>
    <p:sldLayoutId id="2147483662" r:id="rId18"/>
    <p:sldLayoutId id="2147483673" r:id="rId19"/>
    <p:sldLayoutId id="2147483675" r:id="rId20"/>
    <p:sldLayoutId id="2147483674" r:id="rId21"/>
    <p:sldLayoutId id="2147483664" r:id="rId22"/>
    <p:sldLayoutId id="2147483676" r:id="rId23"/>
    <p:sldLayoutId id="2147483678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2250" indent="-21113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tabLst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6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4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0168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4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92" userDrawn="1">
          <p15:clr>
            <a:srgbClr val="F26B43"/>
          </p15:clr>
        </p15:guide>
        <p15:guide id="2" pos="358" userDrawn="1">
          <p15:clr>
            <a:srgbClr val="F26B43"/>
          </p15:clr>
        </p15:guide>
        <p15:guide id="3" orient="horz" pos="218" userDrawn="1">
          <p15:clr>
            <a:srgbClr val="F26B43"/>
          </p15:clr>
        </p15:guide>
        <p15:guide id="4" pos="7305" userDrawn="1">
          <p15:clr>
            <a:srgbClr val="F26B43"/>
          </p15:clr>
        </p15:guide>
        <p15:guide id="5" orient="horz" pos="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.xml"/><Relationship Id="rId4" Type="http://schemas.openxmlformats.org/officeDocument/2006/relationships/image" Target="../media/image38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2DB4C76C-B0DB-ECCB-AE79-254B14FB2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  <a:cs typeface="Futura Medium" panose="020B0602020204020303" pitchFamily="34" charset="-79"/>
              </a:rPr>
              <a:t>Decision Theory and Large Language Models</a:t>
            </a:r>
          </a:p>
        </p:txBody>
      </p:sp>
    </p:spTree>
    <p:extLst>
      <p:ext uri="{BB962C8B-B14F-4D97-AF65-F5344CB8AC3E}">
        <p14:creationId xmlns:p14="http://schemas.microsoft.com/office/powerpoint/2010/main" val="30539838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 “simple” decision proble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146" name="Picture 2" descr="35.100+ Oil Field Fotografías de stock, fotos e imágenes libres de derechos  - iStock | Industry, Oil rig, Sugar mill">
            <a:extLst>
              <a:ext uri="{FF2B5EF4-FFF2-40B4-BE49-F238E27FC236}">
                <a16:creationId xmlns:a16="http://schemas.microsoft.com/office/drawing/2014/main" id="{5DAC5C19-2E6D-2675-E7D6-54D6AA6D6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4516" y="2043315"/>
            <a:ext cx="5722967" cy="363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03142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 “simple” decision proble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yellow sign on a street&#10;&#10;Description automatically generated">
            <a:extLst>
              <a:ext uri="{FF2B5EF4-FFF2-40B4-BE49-F238E27FC236}">
                <a16:creationId xmlns:a16="http://schemas.microsoft.com/office/drawing/2014/main" id="{72875E68-75EA-BCDA-8E6A-4DC6604378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6499" y="1891658"/>
            <a:ext cx="5845514" cy="389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207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84A79DB1-0C7F-9312-232F-47237D3FA7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A79DB1-0C7F-9312-232F-47237D3F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40ADBE8-DB55-F55C-7A19-2DE2B2230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980484"/>
            <a:ext cx="4781888" cy="2198065"/>
          </a:xfrm>
        </p:spPr>
        <p:txBody>
          <a:bodyPr vert="horz"/>
          <a:lstStyle/>
          <a:p>
            <a:r>
              <a:rPr lang="en-US" dirty="0"/>
              <a:t>Thank you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B791153-6CEA-F455-90D6-8422C899F8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603147"/>
            <a:ext cx="4137498" cy="540867"/>
          </a:xfrm>
        </p:spPr>
        <p:txBody>
          <a:bodyPr/>
          <a:lstStyle/>
          <a:p>
            <a:r>
              <a:rPr lang="en-US" dirty="0"/>
              <a:t>Fernando Rodríguez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7118F5-0B28-E2F4-4AD5-D6D323925F0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5999" y="5234115"/>
            <a:ext cx="4137498" cy="511259"/>
          </a:xfrm>
        </p:spPr>
        <p:txBody>
          <a:bodyPr/>
          <a:lstStyle/>
          <a:p>
            <a:r>
              <a:rPr lang="en-US" dirty="0"/>
              <a:t>Vintage AI Enthusiast</a:t>
            </a:r>
          </a:p>
        </p:txBody>
      </p:sp>
    </p:spTree>
    <p:extLst>
      <p:ext uri="{BB962C8B-B14F-4D97-AF65-F5344CB8AC3E}">
        <p14:creationId xmlns:p14="http://schemas.microsoft.com/office/powerpoint/2010/main" val="21466342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Before we go any further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8" name="Picture 17" descr="A yellow and black warning sign&#10;&#10;Description automatically generated">
            <a:extLst>
              <a:ext uri="{FF2B5EF4-FFF2-40B4-BE49-F238E27FC236}">
                <a16:creationId xmlns:a16="http://schemas.microsoft.com/office/drawing/2014/main" id="{9BD03FBC-75E3-9A69-8163-5087488FCE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8063" y="1828202"/>
            <a:ext cx="5305425" cy="4023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835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at the presentation was going to be ab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Cartoon person standing next to two penguins&#10;&#10;Description automatically generated">
            <a:extLst>
              <a:ext uri="{FF2B5EF4-FFF2-40B4-BE49-F238E27FC236}">
                <a16:creationId xmlns:a16="http://schemas.microsoft.com/office/drawing/2014/main" id="{E4FCF109-1A09-07EC-A65E-E930FF9D1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0874" y="1611312"/>
            <a:ext cx="5810251" cy="435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317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at the presentation is going be ab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 descr="A cartoon of a robot with a mask&#10;&#10;Description automatically generated">
            <a:extLst>
              <a:ext uri="{FF2B5EF4-FFF2-40B4-BE49-F238E27FC236}">
                <a16:creationId xmlns:a16="http://schemas.microsoft.com/office/drawing/2014/main" id="{78809044-DA6C-6182-F839-5000771295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7971" y="2147353"/>
            <a:ext cx="4527281" cy="3385619"/>
          </a:xfrm>
          <a:prstGeom prst="rect">
            <a:avLst/>
          </a:prstGeom>
        </p:spPr>
      </p:pic>
      <p:pic>
        <p:nvPicPr>
          <p:cNvPr id="15" name="Picture 1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95555D69-9E82-9F67-991B-74ACDE41DA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6748" y="2147352"/>
            <a:ext cx="4527281" cy="3385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115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nd if I pique your curiosity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Cartoon characters sitting on a couch&#10;&#10;Description automatically generated">
            <a:extLst>
              <a:ext uri="{FF2B5EF4-FFF2-40B4-BE49-F238E27FC236}">
                <a16:creationId xmlns:a16="http://schemas.microsoft.com/office/drawing/2014/main" id="{D091C826-F922-90FC-48DF-569EEBFCBD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1548" y="2002176"/>
            <a:ext cx="4755416" cy="3646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164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y decision theor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59739" y="5977776"/>
            <a:ext cx="2743200" cy="417512"/>
          </a:xfrm>
        </p:spPr>
        <p:txBody>
          <a:bodyPr>
            <a:normAutofit/>
          </a:bodyPr>
          <a:lstStyle/>
          <a:p>
            <a:r>
              <a:rPr lang="en-US" sz="1200" dirty="0"/>
              <a:t>Weird flex, but I have a physical copy…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 descr="A child holding a book&#10;&#10;Description automatically generated">
            <a:extLst>
              <a:ext uri="{FF2B5EF4-FFF2-40B4-BE49-F238E27FC236}">
                <a16:creationId xmlns:a16="http://schemas.microsoft.com/office/drawing/2014/main" id="{DB95A792-674B-EF5F-206F-A8FE32D4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2744" y="1728000"/>
            <a:ext cx="5920195" cy="4002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737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y decision theor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car driving on a highway&#10;&#10;Description automatically generated">
            <a:extLst>
              <a:ext uri="{FF2B5EF4-FFF2-40B4-BE49-F238E27FC236}">
                <a16:creationId xmlns:a16="http://schemas.microsoft.com/office/drawing/2014/main" id="{662839BB-C207-4847-EEDD-59C7C0C040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3027" y="1723248"/>
            <a:ext cx="4445945" cy="4233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32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y decision theor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 descr="A dog and a dog body&#10;&#10;Description automatically generated">
            <a:extLst>
              <a:ext uri="{FF2B5EF4-FFF2-40B4-BE49-F238E27FC236}">
                <a16:creationId xmlns:a16="http://schemas.microsoft.com/office/drawing/2014/main" id="{3935C53D-0FC3-0B11-7389-54CB4E9571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3765" y="1729489"/>
            <a:ext cx="5550981" cy="4269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840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GPT-4o knows its pla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screenshot of a black screen&#10;&#10;Description automatically generated">
            <a:extLst>
              <a:ext uri="{FF2B5EF4-FFF2-40B4-BE49-F238E27FC236}">
                <a16:creationId xmlns:a16="http://schemas.microsoft.com/office/drawing/2014/main" id="{D6936A5E-90E6-F8AE-5EF5-A4DDAA213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6091" y="1469817"/>
            <a:ext cx="5177397" cy="488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774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003457"/>
      </a:dk2>
      <a:lt2>
        <a:srgbClr val="E7E6E6"/>
      </a:lt2>
      <a:accent1>
        <a:srgbClr val="53FF9B"/>
      </a:accent1>
      <a:accent2>
        <a:srgbClr val="30D3B6"/>
      </a:accent2>
      <a:accent3>
        <a:srgbClr val="FF3469"/>
      </a:accent3>
      <a:accent4>
        <a:srgbClr val="F29A2E"/>
      </a:accent4>
      <a:accent5>
        <a:srgbClr val="003457"/>
      </a:accent5>
      <a:accent6>
        <a:srgbClr val="03FFF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ily 2.0 master template_Arial_v3" id="{BE49CA13-4D96-104C-80B5-F8196024229C}" vid="{16FE305D-9EDB-2049-8BB3-CBCBDD988E8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063057d2-d988-451f-a701-4494506c04b3">
      <Terms xmlns="http://schemas.microsoft.com/office/infopath/2007/PartnerControls"/>
    </lcf76f155ced4ddcb4097134ff3c332f>
    <_ip_UnifiedCompliancePolicyProperties xmlns="http://schemas.microsoft.com/sharepoint/v3" xsi:nil="true"/>
    <TaxCatchAll xmlns="93efbeac-8291-46fc-a941-25108fdeb44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FBCF2F584E464D9AE5F173317F34AA" ma:contentTypeVersion="16" ma:contentTypeDescription="Create a new document." ma:contentTypeScope="" ma:versionID="cdb6f60c70d31995d412f636697f8ed8">
  <xsd:schema xmlns:xsd="http://www.w3.org/2001/XMLSchema" xmlns:xs="http://www.w3.org/2001/XMLSchema" xmlns:p="http://schemas.microsoft.com/office/2006/metadata/properties" xmlns:ns1="http://schemas.microsoft.com/sharepoint/v3" xmlns:ns2="93efbeac-8291-46fc-a941-25108fdeb44d" xmlns:ns3="063057d2-d988-451f-a701-4494506c04b3" targetNamespace="http://schemas.microsoft.com/office/2006/metadata/properties" ma:root="true" ma:fieldsID="8ca72e09457a641b769483520a59c70c" ns1:_="" ns2:_="" ns3:_="">
    <xsd:import namespace="http://schemas.microsoft.com/sharepoint/v3"/>
    <xsd:import namespace="93efbeac-8291-46fc-a941-25108fdeb44d"/>
    <xsd:import namespace="063057d2-d988-451f-a701-4494506c04b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efbeac-8291-46fc-a941-25108fdeb44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31179845-7499-422e-aeaf-65323ebe82bd}" ma:internalName="TaxCatchAll" ma:showField="CatchAllData" ma:web="93efbeac-8291-46fc-a941-25108fdeb4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3057d2-d988-451f-a701-4494506c04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0abd710-f5a1-4eed-9dcb-8d5a28282c8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66F46A-7B56-4952-876F-A3309567F73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4DD4CF-E3A2-40FB-A883-2E42009DBB4A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063057d2-d988-451f-a701-4494506c04b3"/>
    <ds:schemaRef ds:uri="93efbeac-8291-46fc-a941-25108fdeb44d"/>
  </ds:schemaRefs>
</ds:datastoreItem>
</file>

<file path=customXml/itemProps3.xml><?xml version="1.0" encoding="utf-8"?>
<ds:datastoreItem xmlns:ds="http://schemas.openxmlformats.org/officeDocument/2006/customXml" ds:itemID="{A7D0B0B5-1AEB-4853-9F77-944680D8A6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3efbeac-8291-46fc-a941-25108fdeb44d"/>
    <ds:schemaRef ds:uri="063057d2-d988-451f-a701-4494506c04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38</TotalTime>
  <Words>89</Words>
  <Application>Microsoft Macintosh PowerPoint</Application>
  <PresentationFormat>Widescreen</PresentationFormat>
  <Paragraphs>25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System Font Regular</vt:lpstr>
      <vt:lpstr>Office Theme</vt:lpstr>
      <vt:lpstr>think-cell Slide</vt:lpstr>
      <vt:lpstr>Decision Theory and Large Language Models</vt:lpstr>
      <vt:lpstr>Before we go any further…</vt:lpstr>
      <vt:lpstr>What the presentation was going to be about</vt:lpstr>
      <vt:lpstr>What the presentation is going be about</vt:lpstr>
      <vt:lpstr>And if I pique your curiosity…</vt:lpstr>
      <vt:lpstr>Why decision theory?</vt:lpstr>
      <vt:lpstr>Why decision theory?</vt:lpstr>
      <vt:lpstr>Why decision theory?</vt:lpstr>
      <vt:lpstr>GPT-4o knows its place</vt:lpstr>
      <vt:lpstr>A “simple” decision problem</vt:lpstr>
      <vt:lpstr>A “simple” decision problem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ernando Rodriguez sanchez</dc:creator>
  <cp:lastModifiedBy>Fernando Rodriguez sanchez</cp:lastModifiedBy>
  <cp:revision>2</cp:revision>
  <dcterms:created xsi:type="dcterms:W3CDTF">2024-06-20T07:38:02Z</dcterms:created>
  <dcterms:modified xsi:type="dcterms:W3CDTF">2024-06-20T23:2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FBCF2F584E464D9AE5F173317F34AA</vt:lpwstr>
  </property>
</Properties>
</file>